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60" r:id="rId2"/>
    <p:sldId id="262" r:id="rId3"/>
    <p:sldId id="295" r:id="rId4"/>
    <p:sldId id="296" r:id="rId5"/>
    <p:sldId id="297" r:id="rId6"/>
    <p:sldId id="298" r:id="rId7"/>
    <p:sldId id="289" r:id="rId8"/>
    <p:sldId id="290" r:id="rId9"/>
    <p:sldId id="293" r:id="rId10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6" d="100"/>
          <a:sy n="86" d="100"/>
        </p:scale>
        <p:origin x="1524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10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1212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10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439738"/>
          </a:xfrm>
        </p:spPr>
        <p:txBody>
          <a:bodyPr>
            <a:noAutofit/>
          </a:bodyPr>
          <a:lstStyle/>
          <a:p>
            <a:r>
              <a:rPr lang="ru-RU" sz="2000" b="1" dirty="0" smtClean="0"/>
              <a:t>Паспорт проекта  «Оптимизация процесса размещения новостей на сайте МБОУ «Звездненская СОШ»</a:t>
            </a:r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303212" y="1009488"/>
            <a:ext cx="8636000" cy="161609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33363" y="2697163"/>
            <a:ext cx="8636000" cy="137990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Временные потери при согласовании текста новостей.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Отсутствие требований  к оформлению текстовой информации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Необходимость  своевременного размещение  новостей на сайте о событиях в учреждении. </a:t>
            </a:r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251520" y="1124744"/>
            <a:ext cx="1941513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Общая информация 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51520" y="4149081"/>
            <a:ext cx="8621713" cy="93610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кратить временные затраты при подготовке и размещения новостной информации на сайте образовательного  учреждения</a:t>
            </a:r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255588" y="2714625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251520" y="4149080"/>
            <a:ext cx="1320800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</a:t>
            </a: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проекта: 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214546" y="928670"/>
            <a:ext cx="4752528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200" dirty="0" smtClean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  <a:latin typeface="+mj-lt"/>
              </a:rPr>
              <a:t>Муниципальное бюджетное общеобразовательное учреждение «Звездненская средняя общеобразовательная школа» Кемеровского муниципального округа МБОУ «Звездненская СОШ».</a:t>
            </a:r>
          </a:p>
          <a:p>
            <a:r>
              <a:rPr lang="ru-RU" sz="1200" dirty="0" smtClean="0">
                <a:solidFill>
                  <a:srgbClr val="002060"/>
                </a:solidFill>
                <a:latin typeface="+mj-lt"/>
              </a:rPr>
              <a:t> Границы процесса: </a:t>
            </a:r>
            <a:r>
              <a:rPr lang="ru-RU" sz="1200" dirty="0" smtClean="0">
                <a:solidFill>
                  <a:schemeClr val="tx2"/>
                </a:solidFill>
                <a:latin typeface="+mj-lt"/>
                <a:cs typeface="Times New Roman" pitchFamily="18" charset="0"/>
              </a:rPr>
              <a:t>Начало процесса: от момента поручения руководителя о составлении новостной информации.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chemeClr val="tx2"/>
                </a:solidFill>
                <a:latin typeface="+mj-lt"/>
                <a:cs typeface="Times New Roman" pitchFamily="18" charset="0"/>
              </a:rPr>
              <a:t>Конец процесса:  до момента размещение новостной информации на сайте образовательного учреждения</a:t>
            </a:r>
          </a:p>
          <a:p>
            <a:r>
              <a:rPr lang="ru-RU" sz="1200" dirty="0" smtClean="0">
                <a:solidFill>
                  <a:srgbClr val="002060"/>
                </a:solidFill>
                <a:latin typeface="+mj-lt"/>
              </a:rPr>
              <a:t>Дата начала  проекта:01.11.2020</a:t>
            </a:r>
          </a:p>
          <a:p>
            <a:r>
              <a:rPr lang="ru-RU" sz="1200" dirty="0" smtClean="0">
                <a:solidFill>
                  <a:srgbClr val="002060"/>
                </a:solidFill>
                <a:latin typeface="+mj-lt"/>
              </a:rPr>
              <a:t>Дата окончания проекта:01.02.2021</a:t>
            </a:r>
            <a:endParaRPr lang="ru-RU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63550" y="2980690"/>
            <a:ext cx="831532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/>
            <a:endParaRPr lang="ru-RU" sz="1400" dirty="0" smtClean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179512" y="5301208"/>
            <a:ext cx="8621713" cy="105531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 организации . 1.Передача новостей в  соответствии с требованиями.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Разработка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чек-листов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ля подготовки новостной  информации.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Размещение актуальных новостей без задержки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сотрудников: Экономия времени.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000" b="1" dirty="0" smtClean="0">
                <a:solidFill>
                  <a:schemeClr val="tx1"/>
                </a:solidFill>
                <a:latin typeface="Franklin Gothic Book" pitchFamily="34" charset="0"/>
                <a:cs typeface="Arial" charset="0"/>
              </a:rPr>
              <a:t>  </a:t>
            </a:r>
            <a:endParaRPr lang="ru-RU" sz="1000" dirty="0" smtClean="0">
              <a:solidFill>
                <a:schemeClr val="tx1"/>
              </a:solidFill>
              <a:latin typeface="Franklin Gothic Book" pitchFamily="34" charset="0"/>
              <a:cs typeface="Arial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323528" y="5229200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/>
          </p:cNvPr>
          <p:cNvSpPr/>
          <p:nvPr/>
        </p:nvSpPr>
        <p:spPr>
          <a:xfrm>
            <a:off x="251520" y="3573016"/>
            <a:ext cx="8621712" cy="24638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51520" y="1556792"/>
            <a:ext cx="8637588" cy="2136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317500" y="130651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395536" y="3573016"/>
            <a:ext cx="2023839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267744" y="1556792"/>
            <a:ext cx="2304256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Булдыгин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Александр Юрьевич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Директор </a:t>
            </a: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267744" y="1340768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b="1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5868144" y="1556792"/>
            <a:ext cx="2448272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Степанова-Чернова Анна Юрьевна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Заместитель директора по воспитательной работе 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724128" y="1340768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b="1" kern="0" dirty="0" smtClean="0">
              <a:solidFill>
                <a:srgbClr val="00295C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683568" y="4077072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Сафронова Елена Викторовна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делопроизводитель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2555776" y="4077072"/>
            <a:ext cx="1462088" cy="6155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Сусликов Николай Юрьевич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Заместитель директора по БОП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4139952" y="4149080"/>
            <a:ext cx="2038152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Генинг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Анна Ивановна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Учитель русского языка и литератур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pic>
        <p:nvPicPr>
          <p:cNvPr id="23" name="Picture 4" descr="http://mdou3rakit.narod.ru/2018_img/logo.pn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9512" y="2060848"/>
            <a:ext cx="1905000" cy="10477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Прямоугольник 94"/>
          <p:cNvSpPr/>
          <p:nvPr/>
        </p:nvSpPr>
        <p:spPr>
          <a:xfrm>
            <a:off x="2338388" y="5013325"/>
            <a:ext cx="577850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0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107950" y="501332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9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6443663" y="357346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8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107950" y="357346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6227763" y="1916113"/>
            <a:ext cx="503237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4211638" y="1916113"/>
            <a:ext cx="503237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07950" y="191611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2122488" y="357346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051050" y="1916113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5371" name="Заголовок 1"/>
          <p:cNvSpPr>
            <a:spLocks noGrp="1"/>
          </p:cNvSpPr>
          <p:nvPr>
            <p:ph type="title"/>
          </p:nvPr>
        </p:nvSpPr>
        <p:spPr>
          <a:xfrm>
            <a:off x="0" y="260648"/>
            <a:ext cx="9144000" cy="838200"/>
          </a:xfrm>
        </p:spPr>
        <p:txBody>
          <a:bodyPr>
            <a:normAutofit fontScale="90000"/>
          </a:bodyPr>
          <a:lstStyle/>
          <a:p>
            <a:r>
              <a:rPr lang="ru-RU" altLang="ru-RU" sz="2000" dirty="0" smtClean="0">
                <a:latin typeface="Franklin Gothic Medium" pitchFamily="34" charset="0"/>
              </a:rPr>
              <a:t>Карта текущего состояния процесса</a:t>
            </a:r>
            <a:br>
              <a:rPr lang="ru-RU" altLang="ru-RU" sz="2000" dirty="0" smtClean="0">
                <a:latin typeface="Franklin Gothic Medium" pitchFamily="34" charset="0"/>
              </a:rPr>
            </a:br>
            <a:r>
              <a:rPr lang="ru-RU" sz="2000" dirty="0" smtClean="0"/>
              <a:t>«Оптимизация процесса размещения новостей </a:t>
            </a:r>
            <a:br>
              <a:rPr lang="ru-RU" sz="2000" dirty="0" smtClean="0"/>
            </a:br>
            <a:r>
              <a:rPr lang="ru-RU" sz="2000" dirty="0" smtClean="0"/>
              <a:t>на сайте МБОУ «</a:t>
            </a:r>
            <a:r>
              <a:rPr lang="ru-RU" sz="2000" dirty="0"/>
              <a:t>З</a:t>
            </a:r>
            <a:r>
              <a:rPr lang="ru-RU" sz="2000" dirty="0" smtClean="0"/>
              <a:t>вездненская СОШ»</a:t>
            </a:r>
            <a:br>
              <a:rPr lang="ru-RU" sz="2000" dirty="0" smtClean="0"/>
            </a:br>
            <a:endParaRPr lang="ru-RU" altLang="ru-RU" sz="2000" dirty="0" smtClean="0">
              <a:latin typeface="Franklin Gothic Medium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979613" y="278130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>
            <a:off x="4067175" y="2781300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6156325" y="2781300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9" name="Стрелка вправо 28"/>
          <p:cNvSpPr/>
          <p:nvPr/>
        </p:nvSpPr>
        <p:spPr>
          <a:xfrm>
            <a:off x="8243888" y="278130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78" name="TextBox 48"/>
          <p:cNvSpPr txBox="1">
            <a:spLocks noChangeArrowheads="1"/>
          </p:cNvSpPr>
          <p:nvPr/>
        </p:nvSpPr>
        <p:spPr bwMode="auto">
          <a:xfrm>
            <a:off x="323528" y="6453336"/>
            <a:ext cx="4068961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Calibri" pitchFamily="34" charset="0"/>
              </a:rPr>
              <a:t>ВПП (время протекания процесса)  –117мин. - 205 мин.</a:t>
            </a:r>
            <a:endParaRPr lang="ru-RU" sz="1200" b="1" dirty="0">
              <a:solidFill>
                <a:srgbClr val="C00000"/>
              </a:solidFill>
              <a:latin typeface="Calibri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284663" y="357346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F7C4544F-931A-45EF-AE4A-08816F777FF5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/>
        </p:nvGraphicFramePr>
        <p:xfrm>
          <a:off x="227856" y="2276872"/>
          <a:ext cx="1751856" cy="8229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Директо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оручение о размещении информации на сайт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0 мин. – 15 мин.</a:t>
                      </a:r>
                      <a:endParaRPr lang="ru-RU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8" name="Стрелка вправо 77"/>
          <p:cNvSpPr/>
          <p:nvPr/>
        </p:nvSpPr>
        <p:spPr>
          <a:xfrm>
            <a:off x="2122488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9" name="Стрелка вправо 78"/>
          <p:cNvSpPr/>
          <p:nvPr/>
        </p:nvSpPr>
        <p:spPr>
          <a:xfrm>
            <a:off x="34925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1" name="Стрелка вправо 80"/>
          <p:cNvSpPr/>
          <p:nvPr/>
        </p:nvSpPr>
        <p:spPr>
          <a:xfrm>
            <a:off x="6443663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3" name="Стрелка вправо 82"/>
          <p:cNvSpPr/>
          <p:nvPr/>
        </p:nvSpPr>
        <p:spPr>
          <a:xfrm>
            <a:off x="8675688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6" name="Стрелка вправо 85"/>
          <p:cNvSpPr/>
          <p:nvPr/>
        </p:nvSpPr>
        <p:spPr>
          <a:xfrm>
            <a:off x="2122488" y="573405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7" name="Стрелка вправо 86"/>
          <p:cNvSpPr/>
          <p:nvPr/>
        </p:nvSpPr>
        <p:spPr>
          <a:xfrm>
            <a:off x="4283075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4" name="Стрелка вправо 93"/>
          <p:cNvSpPr/>
          <p:nvPr/>
        </p:nvSpPr>
        <p:spPr>
          <a:xfrm>
            <a:off x="34925" y="573405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0" name="Пятно 1 60"/>
          <p:cNvSpPr/>
          <p:nvPr/>
        </p:nvSpPr>
        <p:spPr>
          <a:xfrm>
            <a:off x="5724128" y="342900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01" name="Пятно 1 60"/>
          <p:cNvSpPr/>
          <p:nvPr/>
        </p:nvSpPr>
        <p:spPr>
          <a:xfrm>
            <a:off x="5292080" y="494116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4" name="Пятно 1 60"/>
          <p:cNvSpPr/>
          <p:nvPr/>
        </p:nvSpPr>
        <p:spPr>
          <a:xfrm>
            <a:off x="6804248" y="1772816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0" y="2276872"/>
            <a:ext cx="251520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211960" y="5085184"/>
            <a:ext cx="288032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graphicFrame>
        <p:nvGraphicFramePr>
          <p:cNvPr id="56" name="Таблица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4552265"/>
              </p:ext>
            </p:extLst>
          </p:nvPr>
        </p:nvGraphicFramePr>
        <p:xfrm>
          <a:off x="2267744" y="2276872"/>
          <a:ext cx="1751856" cy="8229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Делопроизводитель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Сбор и подготовка информаци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40 мин. –50 мин.</a:t>
                      </a:r>
                      <a:endParaRPr lang="ru-RU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7" name="Таблица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3787480"/>
              </p:ext>
            </p:extLst>
          </p:nvPr>
        </p:nvGraphicFramePr>
        <p:xfrm>
          <a:off x="4427984" y="2276872"/>
          <a:ext cx="1751856" cy="9601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Руководитель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 проекта</a:t>
                      </a:r>
                      <a:endParaRPr lang="ru-RU" sz="900" b="1" dirty="0" smtClean="0">
                        <a:solidFill>
                          <a:schemeClr val="bg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ередача информации </a:t>
                      </a:r>
                      <a:r>
                        <a:rPr lang="ru-RU" sz="900" b="1" kern="120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для проверки</a:t>
                      </a:r>
                      <a:r>
                        <a:rPr lang="ru-RU" sz="900" b="1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5 мин. –  10 мин.</a:t>
                      </a:r>
                      <a:endParaRPr lang="ru-RU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9" name="Таблица 58"/>
          <p:cNvGraphicFramePr>
            <a:graphicFrameLocks noGrp="1"/>
          </p:cNvGraphicFramePr>
          <p:nvPr/>
        </p:nvGraphicFramePr>
        <p:xfrm>
          <a:off x="6516216" y="2276872"/>
          <a:ext cx="1751856" cy="12344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Рабочая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 группа</a:t>
                      </a:r>
                      <a:endParaRPr lang="ru-RU" sz="900" b="1" dirty="0" smtClean="0">
                        <a:solidFill>
                          <a:schemeClr val="bg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роверяет представленную информацию оцифровывает представленную новость отбирает фотографи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20 мин. –  30 мин.</a:t>
                      </a:r>
                      <a:endParaRPr lang="ru-RU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65" name="Таблица 64"/>
          <p:cNvGraphicFramePr>
            <a:graphicFrameLocks noGrp="1"/>
          </p:cNvGraphicFramePr>
          <p:nvPr/>
        </p:nvGraphicFramePr>
        <p:xfrm>
          <a:off x="323528" y="3861048"/>
          <a:ext cx="1751856" cy="12344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Руководитель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 проекта</a:t>
                      </a:r>
                      <a:endParaRPr lang="ru-RU" sz="900" b="1" dirty="0" smtClean="0">
                        <a:solidFill>
                          <a:schemeClr val="bg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Отправляет электронный вариант новости и фотографий по электронной почте  на проверку директору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2 мин. –  5 мин.</a:t>
                      </a:r>
                      <a:endParaRPr lang="ru-RU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9" name="Пятно 1 60"/>
          <p:cNvSpPr/>
          <p:nvPr/>
        </p:nvSpPr>
        <p:spPr>
          <a:xfrm>
            <a:off x="3563888" y="342900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graphicFrame>
        <p:nvGraphicFramePr>
          <p:cNvPr id="72" name="Таблица 71"/>
          <p:cNvGraphicFramePr>
            <a:graphicFrameLocks noGrp="1"/>
          </p:cNvGraphicFramePr>
          <p:nvPr/>
        </p:nvGraphicFramePr>
        <p:xfrm>
          <a:off x="2483768" y="3861048"/>
          <a:ext cx="1751856" cy="9601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Директо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роверяет информацию и отправляет на доработку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0 мин. – 20 мин.</a:t>
                      </a:r>
                      <a:endParaRPr lang="ru-RU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/>
        </p:nvGraphicFramePr>
        <p:xfrm>
          <a:off x="4644008" y="3861048"/>
          <a:ext cx="1751856" cy="84656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Рабочая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 группа</a:t>
                      </a:r>
                      <a:endParaRPr lang="ru-RU" sz="900" b="1" dirty="0" smtClean="0">
                        <a:solidFill>
                          <a:schemeClr val="bg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Исправляет ошибки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0 мин. –  15 мин.</a:t>
                      </a:r>
                      <a:endParaRPr lang="ru-RU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5" name="Таблица 74"/>
          <p:cNvGraphicFramePr>
            <a:graphicFrameLocks noGrp="1"/>
          </p:cNvGraphicFramePr>
          <p:nvPr/>
        </p:nvGraphicFramePr>
        <p:xfrm>
          <a:off x="6852592" y="3861048"/>
          <a:ext cx="1751856" cy="9601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Руководитель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 проекта</a:t>
                      </a:r>
                      <a:endParaRPr lang="ru-RU" sz="900" b="1" dirty="0" smtClean="0">
                        <a:solidFill>
                          <a:schemeClr val="bg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ередает исправленный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вариант на проверку.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5 мин. –  15 мин.</a:t>
                      </a:r>
                      <a:endParaRPr lang="ru-RU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/>
        </p:nvGraphicFramePr>
        <p:xfrm>
          <a:off x="323528" y="5318743"/>
          <a:ext cx="1751856" cy="10972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Директор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роверяет новый текст и передает делопроизводителю для размещения на сайт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0 мин. –  15 мин.</a:t>
                      </a:r>
                      <a:endParaRPr lang="ru-RU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8" name="Пятно 1 60"/>
          <p:cNvSpPr/>
          <p:nvPr/>
        </p:nvSpPr>
        <p:spPr>
          <a:xfrm>
            <a:off x="1547664" y="515719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90" name="Пятно 1 60"/>
          <p:cNvSpPr/>
          <p:nvPr/>
        </p:nvSpPr>
        <p:spPr>
          <a:xfrm>
            <a:off x="5364088" y="522920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96" name="Пятно 1 60"/>
          <p:cNvSpPr/>
          <p:nvPr/>
        </p:nvSpPr>
        <p:spPr>
          <a:xfrm>
            <a:off x="7524328" y="1772816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graphicFrame>
        <p:nvGraphicFramePr>
          <p:cNvPr id="88" name="Таблица 87"/>
          <p:cNvGraphicFramePr>
            <a:graphicFrameLocks noGrp="1"/>
          </p:cNvGraphicFramePr>
          <p:nvPr/>
        </p:nvGraphicFramePr>
        <p:xfrm>
          <a:off x="2460104" y="5373216"/>
          <a:ext cx="1751856" cy="9601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Делопроизводитель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Размещает информацию на сайт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5 мин. –  30мин.</a:t>
                      </a:r>
                      <a:endParaRPr lang="ru-RU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0" name="Пятно 1 60"/>
          <p:cNvSpPr/>
          <p:nvPr/>
        </p:nvSpPr>
        <p:spPr>
          <a:xfrm>
            <a:off x="3492500" y="494188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5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8" name="Пятно 1 60"/>
          <p:cNvSpPr/>
          <p:nvPr/>
        </p:nvSpPr>
        <p:spPr>
          <a:xfrm>
            <a:off x="5364088" y="580526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4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graphicFrame>
        <p:nvGraphicFramePr>
          <p:cNvPr id="49" name="Таблица 48"/>
          <p:cNvGraphicFramePr>
            <a:graphicFrameLocks noGrp="1"/>
          </p:cNvGraphicFramePr>
          <p:nvPr/>
        </p:nvGraphicFramePr>
        <p:xfrm>
          <a:off x="6084168" y="5196873"/>
          <a:ext cx="2808312" cy="166112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808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89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Предоставление новостей на бумажном носителе.</a:t>
                      </a:r>
                      <a:endParaRPr lang="ru-RU" sz="900" b="0" cap="none" dirty="0" smtClean="0">
                        <a:solidFill>
                          <a:schemeClr val="tx1"/>
                        </a:solidFill>
                        <a:latin typeface="Franklin Gothic Medium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43" marR="91443" marT="45730" marB="4573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Отсутствие единого стиля оформления новостей разного содержания</a:t>
                      </a:r>
                      <a:endParaRPr lang="ru-RU" altLang="ru-RU" sz="900" b="0" kern="1200" dirty="0" smtClean="0">
                        <a:solidFill>
                          <a:schemeClr val="tx1"/>
                        </a:solidFill>
                        <a:latin typeface="Franklin Gothic Medium" pitchFamily="34" charset="0"/>
                        <a:ea typeface="+mn-ea"/>
                        <a:cs typeface="+mn-cs"/>
                      </a:endParaRPr>
                    </a:p>
                  </a:txBody>
                  <a:tcPr marL="91443" marR="91443" marT="45730" marB="4573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4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Временные потери из-за не качественного содержания новости</a:t>
                      </a:r>
                      <a:endParaRPr lang="ru-RU" altLang="ru-RU" sz="900" b="0" kern="1200" dirty="0" smtClean="0">
                        <a:solidFill>
                          <a:schemeClr val="tx1"/>
                        </a:solidFill>
                        <a:latin typeface="Franklin Gothic Medium" pitchFamily="34" charset="0"/>
                        <a:ea typeface="+mn-ea"/>
                        <a:cs typeface="+mn-cs"/>
                      </a:endParaRPr>
                    </a:p>
                  </a:txBody>
                  <a:tcPr marL="91443" marR="91443" marT="45730" marB="4573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87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Занятость сотрудника, отсутствие на рабочем месте</a:t>
                      </a:r>
                      <a:endParaRPr lang="ru-RU" altLang="ru-RU" sz="900" b="0" kern="1200" dirty="0" smtClean="0">
                        <a:solidFill>
                          <a:schemeClr val="tx1"/>
                        </a:solidFill>
                        <a:latin typeface="Franklin Gothic Medium" pitchFamily="34" charset="0"/>
                        <a:ea typeface="+mn-ea"/>
                        <a:cs typeface="+mn-cs"/>
                      </a:endParaRPr>
                    </a:p>
                  </a:txBody>
                  <a:tcPr marL="91443" marR="91443" marT="45730" marB="4573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07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Не своевременное размещение новостей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900" b="0" kern="1200" dirty="0" smtClean="0">
                        <a:solidFill>
                          <a:schemeClr val="tx1"/>
                        </a:solidFill>
                        <a:latin typeface="Franklin Gothic Medium" pitchFamily="34" charset="0"/>
                        <a:ea typeface="+mn-ea"/>
                        <a:cs typeface="+mn-cs"/>
                      </a:endParaRPr>
                    </a:p>
                  </a:txBody>
                  <a:tcPr marL="91443" marR="91443" marT="45730" marB="4573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0" name="Пятно 1 60"/>
          <p:cNvSpPr/>
          <p:nvPr/>
        </p:nvSpPr>
        <p:spPr>
          <a:xfrm>
            <a:off x="2771800" y="1772816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1" name="Пятно 1 60"/>
          <p:cNvSpPr/>
          <p:nvPr/>
        </p:nvSpPr>
        <p:spPr>
          <a:xfrm>
            <a:off x="5508104" y="551723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2" name="Пятно 1 60"/>
          <p:cNvSpPr/>
          <p:nvPr/>
        </p:nvSpPr>
        <p:spPr>
          <a:xfrm>
            <a:off x="2843808" y="494116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4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3" name="Пятно 1 60"/>
          <p:cNvSpPr/>
          <p:nvPr/>
        </p:nvSpPr>
        <p:spPr>
          <a:xfrm>
            <a:off x="5364088" y="6237312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5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372200" y="4797152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Условные обозначения</a:t>
            </a:r>
            <a:endParaRPr lang="ru-RU" sz="12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Равнобедренный треугольник 25"/>
          <p:cNvSpPr/>
          <p:nvPr/>
        </p:nvSpPr>
        <p:spPr>
          <a:xfrm>
            <a:off x="179512" y="2132856"/>
            <a:ext cx="4176464" cy="4248472"/>
          </a:xfrm>
          <a:prstGeom prst="triangle">
            <a:avLst/>
          </a:prstGeom>
          <a:solidFill>
            <a:srgbClr val="92D050"/>
          </a:solidFill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7313" lvl="0" indent="-87313" algn="ctr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r>
              <a:rPr lang="ru-RU" sz="1050" b="1" dirty="0" smtClean="0">
                <a:solidFill>
                  <a:schemeClr val="tx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Федеральный </a:t>
            </a:r>
          </a:p>
          <a:p>
            <a:pPr marL="87313" lvl="0" indent="-87313" algn="ctr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r>
              <a:rPr lang="ru-RU" sz="1050" b="1" dirty="0" smtClean="0">
                <a:solidFill>
                  <a:schemeClr val="tx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Уровень </a:t>
            </a: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174625" lvl="0" algn="ctr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r>
              <a:rPr lang="ru-RU" sz="1200" b="1" dirty="0" smtClean="0">
                <a:solidFill>
                  <a:schemeClr val="tx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Муниципальный </a:t>
            </a:r>
          </a:p>
          <a:p>
            <a:pPr marL="457200" lvl="0" indent="-282575" algn="ctr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r>
              <a:rPr lang="ru-RU" sz="1200" b="1" dirty="0" smtClean="0">
                <a:solidFill>
                  <a:schemeClr val="tx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уровень</a:t>
            </a: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457200" lvl="0" algn="ctr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r>
              <a:rPr lang="ru-RU" sz="1200" b="1" dirty="0" smtClean="0">
                <a:solidFill>
                  <a:schemeClr val="tx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Уровень образовательной организации</a:t>
            </a: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marL="457200" lvl="0" fontAlgn="base">
              <a:spcBef>
                <a:spcPct val="0"/>
              </a:spcBef>
              <a:spcAft>
                <a:spcPts val="600"/>
              </a:spcAft>
              <a:tabLst>
                <a:tab pos="-179388" algn="l"/>
              </a:tabLst>
            </a:pPr>
            <a:endParaRPr lang="ru-RU" sz="1000" dirty="0" smtClean="0">
              <a:solidFill>
                <a:schemeClr val="tx1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268760"/>
            <a:ext cx="4067944" cy="576064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400" dirty="0" smtClean="0"/>
              <a:t>Пирамида проблем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 smtClean="0">
                <a:solidFill>
                  <a:srgbClr val="23263C"/>
                </a:solidFill>
                <a:cs typeface="Arial" charset="0"/>
              </a:rPr>
              <a:t>5.</a:t>
            </a:r>
          </a:p>
        </p:txBody>
      </p:sp>
      <p:sp>
        <p:nvSpPr>
          <p:cNvPr id="17412" name="Заголовок 1"/>
          <p:cNvSpPr txBox="1">
            <a:spLocks/>
          </p:cNvSpPr>
          <p:nvPr/>
        </p:nvSpPr>
        <p:spPr bwMode="auto">
          <a:xfrm>
            <a:off x="755650" y="404813"/>
            <a:ext cx="838835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ru-RU" sz="3000">
              <a:solidFill>
                <a:schemeClr val="tx2"/>
              </a:solidFill>
              <a:latin typeface="Franklin Gothic Medium" pitchFamily="34" charset="0"/>
            </a:endParaRPr>
          </a:p>
          <a:p>
            <a:pPr eaLnBrk="0" hangingPunct="0"/>
            <a:r>
              <a:rPr lang="ru-RU" sz="2800">
                <a:solidFill>
                  <a:schemeClr val="tx2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800">
                <a:solidFill>
                  <a:schemeClr val="tx2"/>
                </a:solidFill>
                <a:latin typeface="Franklin Gothic Medium" pitchFamily="34" charset="0"/>
              </a:rPr>
            </a:br>
            <a:r>
              <a:rPr lang="ru-RU" sz="2800">
                <a:solidFill>
                  <a:schemeClr val="tx2"/>
                </a:solidFill>
                <a:latin typeface="Franklin Gothic Medium" pitchFamily="34" charset="0"/>
              </a:rPr>
              <a:t>(ОПИСАНИЕ СИТУАЦИИ «КАК ЕСТЬ»)</a:t>
            </a:r>
            <a:br>
              <a:rPr lang="ru-RU" sz="2800">
                <a:solidFill>
                  <a:schemeClr val="tx2"/>
                </a:solidFill>
                <a:latin typeface="Franklin Gothic Medium" pitchFamily="34" charset="0"/>
              </a:rPr>
            </a:br>
            <a:endParaRPr lang="ru-RU" sz="2800">
              <a:solidFill>
                <a:schemeClr val="tx2"/>
              </a:solidFill>
              <a:latin typeface="Franklin Gothic Medium" pitchFamily="34" charset="0"/>
            </a:endParaRPr>
          </a:p>
        </p:txBody>
      </p:sp>
      <p:graphicFrame>
        <p:nvGraphicFramePr>
          <p:cNvPr id="17460" name="Group 52"/>
          <p:cNvGraphicFramePr>
            <a:graphicFrameLocks noGrp="1"/>
          </p:cNvGraphicFramePr>
          <p:nvPr/>
        </p:nvGraphicFramePr>
        <p:xfrm>
          <a:off x="4355976" y="2348880"/>
          <a:ext cx="4464050" cy="3120688"/>
        </p:xfrm>
        <a:graphic>
          <a:graphicData uri="http://schemas.openxmlformats.org/drawingml/2006/table">
            <a:tbl>
              <a:tblPr/>
              <a:tblGrid>
                <a:gridCol w="993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702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pPr marL="45720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-179388" algn="l"/>
                        </a:tabLst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3009" marR="5300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-179388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Предоставление новостей на бумажном носителе. </a:t>
                      </a:r>
                    </a:p>
                  </a:txBody>
                  <a:tcPr marL="53009" marR="5300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pPr marL="45720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-179388" algn="l"/>
                        </a:tabLst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3009" marR="5300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-179388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Отсутствие единого стиля оформления новостей разного содержания</a:t>
                      </a:r>
                    </a:p>
                  </a:txBody>
                  <a:tcPr marL="53009" marR="5300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5625">
                <a:tc>
                  <a:txBody>
                    <a:bodyPr/>
                    <a:lstStyle/>
                    <a:p>
                      <a:pPr marL="45720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-179388" algn="l"/>
                        </a:tabLst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3009" marR="5300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-179388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Временные потери из-за 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некачесственного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 содержания новости</a:t>
                      </a:r>
                    </a:p>
                  </a:txBody>
                  <a:tcPr marL="53009" marR="5300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0063">
                <a:tc>
                  <a:txBody>
                    <a:bodyPr/>
                    <a:lstStyle/>
                    <a:p>
                      <a:pPr marL="45720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-179388" algn="l"/>
                        </a:tabLst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3009" marR="5300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-179388" algn="l"/>
                        </a:tabLst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Занятость сотрудника, отсутствие на рабочем месте.</a:t>
                      </a:r>
                    </a:p>
                    <a:p>
                      <a:pPr marL="4572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-179388" algn="l"/>
                        </a:tabLst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3009" marR="5300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0063">
                <a:tc>
                  <a:txBody>
                    <a:bodyPr/>
                    <a:lstStyle/>
                    <a:p>
                      <a:pPr marL="45720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-179388" algn="l"/>
                        </a:tabLst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3009" marR="5300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-179388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Не своевременное размещение новостей</a:t>
                      </a:r>
                    </a:p>
                  </a:txBody>
                  <a:tcPr marL="53009" marR="5300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" name="AutoShape 9"/>
          <p:cNvSpPr>
            <a:spLocks noChangeArrowheads="1"/>
          </p:cNvSpPr>
          <p:nvPr/>
        </p:nvSpPr>
        <p:spPr bwMode="auto">
          <a:xfrm>
            <a:off x="467544" y="5517232"/>
            <a:ext cx="741362" cy="614363"/>
          </a:xfrm>
          <a:prstGeom prst="irregularSeal1">
            <a:avLst/>
          </a:prstGeom>
          <a:solidFill>
            <a:srgbClr val="C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auto">
          <a:xfrm>
            <a:off x="1331640" y="5661248"/>
            <a:ext cx="741362" cy="614363"/>
          </a:xfrm>
          <a:prstGeom prst="irregularSeal1">
            <a:avLst/>
          </a:prstGeom>
          <a:solidFill>
            <a:srgbClr val="C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11" name="AutoShape 9"/>
          <p:cNvSpPr>
            <a:spLocks noChangeArrowheads="1"/>
          </p:cNvSpPr>
          <p:nvPr/>
        </p:nvSpPr>
        <p:spPr bwMode="auto">
          <a:xfrm>
            <a:off x="2195736" y="5661248"/>
            <a:ext cx="741362" cy="614363"/>
          </a:xfrm>
          <a:prstGeom prst="irregularSeal1">
            <a:avLst/>
          </a:prstGeom>
          <a:solidFill>
            <a:srgbClr val="C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>
            <a:off x="4499992" y="4941168"/>
            <a:ext cx="741362" cy="614363"/>
          </a:xfrm>
          <a:prstGeom prst="irregularSeal1">
            <a:avLst/>
          </a:prstGeom>
          <a:solidFill>
            <a:srgbClr val="C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14" name="AutoShape 9"/>
          <p:cNvSpPr>
            <a:spLocks noChangeArrowheads="1"/>
          </p:cNvSpPr>
          <p:nvPr/>
        </p:nvSpPr>
        <p:spPr bwMode="auto">
          <a:xfrm>
            <a:off x="4427984" y="3645024"/>
            <a:ext cx="741362" cy="614363"/>
          </a:xfrm>
          <a:prstGeom prst="irregularSeal1">
            <a:avLst/>
          </a:prstGeom>
          <a:solidFill>
            <a:srgbClr val="C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15" name="AutoShape 9"/>
          <p:cNvSpPr>
            <a:spLocks noChangeArrowheads="1"/>
          </p:cNvSpPr>
          <p:nvPr/>
        </p:nvSpPr>
        <p:spPr bwMode="auto">
          <a:xfrm>
            <a:off x="4427984" y="2996952"/>
            <a:ext cx="741362" cy="614363"/>
          </a:xfrm>
          <a:prstGeom prst="irregularSeal1">
            <a:avLst/>
          </a:prstGeom>
          <a:solidFill>
            <a:srgbClr val="C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dirty="0" smtClean="0"/>
              <a:t>2</a:t>
            </a:r>
            <a:endParaRPr lang="ru-RU" dirty="0"/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1043608" y="4725144"/>
            <a:ext cx="2520280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1475656" y="3645024"/>
            <a:ext cx="1512168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AutoShape 9"/>
          <p:cNvSpPr>
            <a:spLocks noChangeArrowheads="1"/>
          </p:cNvSpPr>
          <p:nvPr/>
        </p:nvSpPr>
        <p:spPr bwMode="auto">
          <a:xfrm>
            <a:off x="4499992" y="4221088"/>
            <a:ext cx="741362" cy="614363"/>
          </a:xfrm>
          <a:prstGeom prst="irregularSeal1">
            <a:avLst/>
          </a:prstGeom>
          <a:solidFill>
            <a:srgbClr val="C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2627784" y="2564904"/>
            <a:ext cx="14890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C00000"/>
                </a:solidFill>
              </a:rPr>
              <a:t>Не выявлены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99792" y="4221088"/>
            <a:ext cx="14890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C00000"/>
                </a:solidFill>
              </a:rPr>
              <a:t>Не выявлены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24" name="AutoShape 9"/>
          <p:cNvSpPr>
            <a:spLocks noChangeArrowheads="1"/>
          </p:cNvSpPr>
          <p:nvPr/>
        </p:nvSpPr>
        <p:spPr bwMode="auto">
          <a:xfrm>
            <a:off x="3131840" y="5661248"/>
            <a:ext cx="741362" cy="614363"/>
          </a:xfrm>
          <a:prstGeom prst="irregularSeal1">
            <a:avLst/>
          </a:prstGeom>
          <a:solidFill>
            <a:srgbClr val="C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25" name="AutoShape 9"/>
          <p:cNvSpPr>
            <a:spLocks noChangeArrowheads="1"/>
          </p:cNvSpPr>
          <p:nvPr/>
        </p:nvSpPr>
        <p:spPr bwMode="auto">
          <a:xfrm>
            <a:off x="4427984" y="2348880"/>
            <a:ext cx="741362" cy="614363"/>
          </a:xfrm>
          <a:prstGeom prst="irregularSeal1">
            <a:avLst/>
          </a:prstGeom>
          <a:solidFill>
            <a:srgbClr val="C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27" name="AutoShape 9"/>
          <p:cNvSpPr>
            <a:spLocks noChangeArrowheads="1"/>
          </p:cNvSpPr>
          <p:nvPr/>
        </p:nvSpPr>
        <p:spPr bwMode="auto">
          <a:xfrm>
            <a:off x="3203848" y="5085184"/>
            <a:ext cx="741362" cy="614363"/>
          </a:xfrm>
          <a:prstGeom prst="irregularSeal1">
            <a:avLst/>
          </a:prstGeom>
          <a:solidFill>
            <a:srgbClr val="C000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dirty="0" smtClean="0"/>
              <a:t>5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89" name="Group 57"/>
          <p:cNvGraphicFramePr>
            <a:graphicFrameLocks noGrp="1"/>
          </p:cNvGraphicFramePr>
          <p:nvPr>
            <p:ph idx="1"/>
          </p:nvPr>
        </p:nvGraphicFramePr>
        <p:xfrm>
          <a:off x="539552" y="1052736"/>
          <a:ext cx="7776863" cy="5541101"/>
        </p:xfrm>
        <a:graphic>
          <a:graphicData uri="http://schemas.openxmlformats.org/drawingml/2006/table">
            <a:tbl>
              <a:tblPr/>
              <a:tblGrid>
                <a:gridCol w="26201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133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33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127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роблемы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пособ решения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Times New Roman" pitchFamily="18" charset="0"/>
                        </a:rPr>
                        <a:t>Экономия времен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33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редоставление новостей на бумажном носителе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риобретение компьютер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окращение ВПП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(32 минут – 35 минут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E0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35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тсутствие единого стиля оформления новостей разного содержания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Разработка чек листов для контроля за качеством предоставляемой новости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окращение ВПП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(5 минут – 10 минут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0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Временные потери из-за некачественного содержания новост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редоставление возможности делать электронный вариант новостей на компьютер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окращение ВПП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(15 минут-30 мин.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E0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23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Занятость сотрудника, отсутствие на рабочем месте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ередача информации по электронной почт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окращение ВПП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(15 минут—5 минут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33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Несвоевременное размещение новост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аботка циклограммы деятельности делопроизводител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E0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окращение ВПП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 (15 минут-10 минут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E0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86813" y="6143625"/>
            <a:ext cx="357187" cy="357188"/>
          </a:xfrm>
        </p:spPr>
        <p:txBody>
          <a:bodyPr/>
          <a:lstStyle/>
          <a:p>
            <a:pPr>
              <a:defRPr/>
            </a:pPr>
            <a:fld id="{0EB02108-C6DA-453B-A7E9-B9E2EBCAA76B}" type="slidenum">
              <a:rPr lang="ru-RU" smtClean="0">
                <a:solidFill>
                  <a:schemeClr val="tx1"/>
                </a:solidFill>
              </a:rPr>
              <a:pPr>
                <a:defRPr/>
              </a:pPr>
              <a:t>5</a:t>
            </a:fld>
            <a:r>
              <a:rPr lang="ru-RU" dirty="0" smtClean="0">
                <a:solidFill>
                  <a:schemeClr val="tx1"/>
                </a:solidFill>
              </a:rPr>
              <a:t>.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86116" y="428604"/>
            <a:ext cx="18140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Анализ проблем</a:t>
            </a:r>
            <a:endParaRPr lang="ru-RU" dirty="0"/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Прямоугольник 94"/>
          <p:cNvSpPr/>
          <p:nvPr/>
        </p:nvSpPr>
        <p:spPr>
          <a:xfrm>
            <a:off x="2338388" y="5013325"/>
            <a:ext cx="577850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0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107950" y="501332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9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6443663" y="357346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8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107950" y="357346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6227763" y="1916113"/>
            <a:ext cx="503237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4211638" y="1916113"/>
            <a:ext cx="503237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07950" y="191611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2122488" y="357346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6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051050" y="1916113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5371" name="Заголовок 1"/>
          <p:cNvSpPr>
            <a:spLocks noGrp="1"/>
          </p:cNvSpPr>
          <p:nvPr>
            <p:ph type="title"/>
          </p:nvPr>
        </p:nvSpPr>
        <p:spPr>
          <a:xfrm>
            <a:off x="0" y="332656"/>
            <a:ext cx="9144000" cy="838200"/>
          </a:xfrm>
        </p:spPr>
        <p:txBody>
          <a:bodyPr>
            <a:normAutofit fontScale="90000"/>
          </a:bodyPr>
          <a:lstStyle/>
          <a:p>
            <a:r>
              <a:rPr lang="ru-RU" altLang="ru-RU" sz="2000" dirty="0" smtClean="0">
                <a:latin typeface="Franklin Gothic Medium" pitchFamily="34" charset="0"/>
              </a:rPr>
              <a:t>Карта целевого состояния процесса</a:t>
            </a:r>
            <a:br>
              <a:rPr lang="ru-RU" altLang="ru-RU" sz="2000" dirty="0" smtClean="0">
                <a:latin typeface="Franklin Gothic Medium" pitchFamily="34" charset="0"/>
              </a:rPr>
            </a:br>
            <a:r>
              <a:rPr lang="ru-RU" sz="2000" dirty="0" smtClean="0"/>
              <a:t>«Оптимизация процесса размещения новостей </a:t>
            </a:r>
            <a:br>
              <a:rPr lang="ru-RU" sz="2000" dirty="0" smtClean="0"/>
            </a:br>
            <a:r>
              <a:rPr lang="ru-RU" sz="2000" dirty="0" smtClean="0"/>
              <a:t>на сайте МДОУ «Детский сад №3»</a:t>
            </a:r>
            <a:br>
              <a:rPr lang="ru-RU" sz="2000" dirty="0" smtClean="0"/>
            </a:br>
            <a:endParaRPr lang="ru-RU" altLang="ru-RU" sz="2000" dirty="0" smtClean="0">
              <a:latin typeface="Franklin Gothic Medium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979613" y="278130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>
            <a:off x="4067175" y="2781300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6156325" y="2781300"/>
            <a:ext cx="287338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9" name="Стрелка вправо 28"/>
          <p:cNvSpPr/>
          <p:nvPr/>
        </p:nvSpPr>
        <p:spPr>
          <a:xfrm>
            <a:off x="8243888" y="278130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78" name="TextBox 48"/>
          <p:cNvSpPr txBox="1">
            <a:spLocks noChangeArrowheads="1"/>
          </p:cNvSpPr>
          <p:nvPr/>
        </p:nvSpPr>
        <p:spPr bwMode="auto">
          <a:xfrm>
            <a:off x="4644008" y="5373216"/>
            <a:ext cx="403244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C00000"/>
                </a:solidFill>
                <a:latin typeface="Calibri" pitchFamily="34" charset="0"/>
              </a:rPr>
              <a:t>ВПП (время протекания процесса)  – </a:t>
            </a:r>
            <a:r>
              <a:rPr lang="ru-RU" sz="1200" b="1" dirty="0" smtClean="0">
                <a:solidFill>
                  <a:srgbClr val="C00000"/>
                </a:solidFill>
                <a:latin typeface="Calibri" pitchFamily="34" charset="0"/>
              </a:rPr>
              <a:t>90 </a:t>
            </a:r>
            <a:r>
              <a:rPr lang="ru-RU" sz="1200" b="1" dirty="0">
                <a:solidFill>
                  <a:srgbClr val="C00000"/>
                </a:solidFill>
                <a:latin typeface="Calibri" pitchFamily="34" charset="0"/>
              </a:rPr>
              <a:t>мин. - </a:t>
            </a:r>
            <a:r>
              <a:rPr lang="ru-RU" sz="1200" b="1" dirty="0" smtClean="0">
                <a:solidFill>
                  <a:srgbClr val="C00000"/>
                </a:solidFill>
                <a:latin typeface="Calibri" pitchFamily="34" charset="0"/>
              </a:rPr>
              <a:t>140 </a:t>
            </a:r>
            <a:r>
              <a:rPr lang="ru-RU" sz="1200" b="1" dirty="0">
                <a:solidFill>
                  <a:srgbClr val="C00000"/>
                </a:solidFill>
                <a:latin typeface="Calibri" pitchFamily="34" charset="0"/>
              </a:rPr>
              <a:t>мин</a:t>
            </a:r>
            <a:r>
              <a:rPr lang="ru-RU" sz="1200" b="1" dirty="0" smtClean="0">
                <a:solidFill>
                  <a:srgbClr val="C00000"/>
                </a:solidFill>
                <a:latin typeface="Calibri" pitchFamily="34" charset="0"/>
              </a:rPr>
              <a:t>. Экономия времени: 68%-41% </a:t>
            </a:r>
            <a:endParaRPr lang="ru-RU" sz="1200" b="1" dirty="0">
              <a:solidFill>
                <a:srgbClr val="C00000"/>
              </a:solidFill>
              <a:latin typeface="Calibri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284663" y="3573463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7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F7C4544F-931A-45EF-AE4A-08816F777FF5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/>
        </p:nvGraphicFramePr>
        <p:xfrm>
          <a:off x="227856" y="2276872"/>
          <a:ext cx="1751856" cy="8229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Директор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оручение о размещении информации на сайте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0 мин. – 15 мин.</a:t>
                      </a:r>
                      <a:endParaRPr lang="ru-RU" sz="9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8" name="Стрелка вправо 77"/>
          <p:cNvSpPr/>
          <p:nvPr/>
        </p:nvSpPr>
        <p:spPr>
          <a:xfrm>
            <a:off x="2122488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9" name="Стрелка вправо 78"/>
          <p:cNvSpPr/>
          <p:nvPr/>
        </p:nvSpPr>
        <p:spPr>
          <a:xfrm>
            <a:off x="34925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1" name="Стрелка вправо 80"/>
          <p:cNvSpPr/>
          <p:nvPr/>
        </p:nvSpPr>
        <p:spPr>
          <a:xfrm>
            <a:off x="6443663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3" name="Стрелка вправо 82"/>
          <p:cNvSpPr/>
          <p:nvPr/>
        </p:nvSpPr>
        <p:spPr>
          <a:xfrm>
            <a:off x="8675688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6" name="Стрелка вправо 85"/>
          <p:cNvSpPr/>
          <p:nvPr/>
        </p:nvSpPr>
        <p:spPr>
          <a:xfrm>
            <a:off x="2122488" y="573405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7" name="Стрелка вправо 86"/>
          <p:cNvSpPr/>
          <p:nvPr/>
        </p:nvSpPr>
        <p:spPr>
          <a:xfrm>
            <a:off x="4283075" y="422116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4" name="Стрелка вправо 93"/>
          <p:cNvSpPr/>
          <p:nvPr/>
        </p:nvSpPr>
        <p:spPr>
          <a:xfrm>
            <a:off x="34925" y="573405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Прямоугольник 60"/>
          <p:cNvSpPr/>
          <p:nvPr/>
        </p:nvSpPr>
        <p:spPr>
          <a:xfrm>
            <a:off x="0" y="2276872"/>
            <a:ext cx="251520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211960" y="5085184"/>
            <a:ext cx="288032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graphicFrame>
        <p:nvGraphicFramePr>
          <p:cNvPr id="56" name="Таблица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7977624"/>
              </p:ext>
            </p:extLst>
          </p:nvPr>
        </p:nvGraphicFramePr>
        <p:xfrm>
          <a:off x="2267744" y="2276872"/>
          <a:ext cx="1751856" cy="8229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Делопроизводитель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Сбор и подготовка информации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40 мин. –50 мин.</a:t>
                      </a:r>
                      <a:endParaRPr lang="ru-RU" sz="9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7" name="Таблица 56"/>
          <p:cNvGraphicFramePr>
            <a:graphicFrameLocks noGrp="1"/>
          </p:cNvGraphicFramePr>
          <p:nvPr/>
        </p:nvGraphicFramePr>
        <p:xfrm>
          <a:off x="4427984" y="2276872"/>
          <a:ext cx="1751856" cy="9601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Руководитель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 проекта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ередача информации для проверки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5 мин. –  10 мин.</a:t>
                      </a:r>
                      <a:endParaRPr lang="ru-RU" sz="9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9" name="Таблица 58"/>
          <p:cNvGraphicFramePr>
            <a:graphicFrameLocks noGrp="1"/>
          </p:cNvGraphicFramePr>
          <p:nvPr/>
        </p:nvGraphicFramePr>
        <p:xfrm>
          <a:off x="6516216" y="2276872"/>
          <a:ext cx="1751856" cy="12344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Рабочая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 группа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роверяет представленную информацию оцифровывает представленную новость отбирает фотографии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20 мин. –  30 мин.</a:t>
                      </a:r>
                      <a:endParaRPr lang="ru-RU" sz="9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65" name="Таблица 64"/>
          <p:cNvGraphicFramePr>
            <a:graphicFrameLocks noGrp="1"/>
          </p:cNvGraphicFramePr>
          <p:nvPr/>
        </p:nvGraphicFramePr>
        <p:xfrm>
          <a:off x="323528" y="3861048"/>
          <a:ext cx="1751856" cy="12344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Руководитель 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проекта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Отправляет электронный вариант новости и фотографий по электронной почте  на проверку заведующему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2 мин. –  5 мин.</a:t>
                      </a:r>
                      <a:endParaRPr lang="ru-RU" sz="9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2" name="Таблица 71"/>
          <p:cNvGraphicFramePr>
            <a:graphicFrameLocks noGrp="1"/>
          </p:cNvGraphicFramePr>
          <p:nvPr/>
        </p:nvGraphicFramePr>
        <p:xfrm>
          <a:off x="2483768" y="3861048"/>
          <a:ext cx="1751856" cy="9601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Директор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роверяет информацию и отправляет на доработку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0 мин. – 20 мин.</a:t>
                      </a:r>
                      <a:endParaRPr lang="ru-RU" sz="9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/>
        </p:nvGraphicFramePr>
        <p:xfrm>
          <a:off x="4644008" y="3861048"/>
          <a:ext cx="1751856" cy="84656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Рабочая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 группа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Исправляет ошибки.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0 мин. –  15 мин.</a:t>
                      </a:r>
                      <a:endParaRPr lang="ru-RU" sz="9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5" name="Таблица 74"/>
          <p:cNvGraphicFramePr>
            <a:graphicFrameLocks noGrp="1"/>
          </p:cNvGraphicFramePr>
          <p:nvPr/>
        </p:nvGraphicFramePr>
        <p:xfrm>
          <a:off x="6852592" y="3861048"/>
          <a:ext cx="1751856" cy="9601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Руководитель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 проекта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ередает исправленный</a:t>
                      </a:r>
                      <a:r>
                        <a:rPr lang="ru-RU" sz="9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вариант на проверку.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5 мин. –  15 мин.</a:t>
                      </a:r>
                      <a:endParaRPr lang="ru-RU" sz="9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/>
        </p:nvGraphicFramePr>
        <p:xfrm>
          <a:off x="323528" y="5318743"/>
          <a:ext cx="1751856" cy="10972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Директор</a:t>
                      </a:r>
                      <a:endParaRPr lang="ru-RU" sz="900" b="1" dirty="0" smtClean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Проверяет новый текст и передает делопроизводителю для размещения на сайте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0 мин. –  15 мин.</a:t>
                      </a:r>
                      <a:endParaRPr lang="ru-RU" sz="9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8" name="Таблица 87"/>
          <p:cNvGraphicFramePr>
            <a:graphicFrameLocks noGrp="1"/>
          </p:cNvGraphicFramePr>
          <p:nvPr/>
        </p:nvGraphicFramePr>
        <p:xfrm>
          <a:off x="2460104" y="5373216"/>
          <a:ext cx="1751856" cy="9601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341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cs typeface="Arial" pitchFamily="34" charset="0"/>
                        </a:rPr>
                        <a:t>Делопроизводитель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20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Размещает информацию на сайте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445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араметры</a:t>
                      </a:r>
                      <a:r>
                        <a:rPr lang="ru-RU" sz="900" baseline="0" dirty="0" smtClean="0"/>
                        <a:t> шага</a:t>
                      </a:r>
                    </a:p>
                    <a:p>
                      <a:pPr algn="ctr"/>
                      <a:r>
                        <a:rPr lang="ru-RU" sz="900" dirty="0" smtClean="0"/>
                        <a:t>15 мин. –  30мин.</a:t>
                      </a:r>
                      <a:endParaRPr lang="ru-RU" sz="9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2" name="Группа 52"/>
          <p:cNvGrpSpPr/>
          <p:nvPr/>
        </p:nvGrpSpPr>
        <p:grpSpPr>
          <a:xfrm>
            <a:off x="179512" y="3789040"/>
            <a:ext cx="1944216" cy="1512168"/>
            <a:chOff x="6444208" y="2060848"/>
            <a:chExt cx="1944216" cy="1512168"/>
          </a:xfrm>
        </p:grpSpPr>
        <p:cxnSp>
          <p:nvCxnSpPr>
            <p:cNvPr id="49" name="Прямая соединительная линия 48"/>
            <p:cNvCxnSpPr/>
            <p:nvPr/>
          </p:nvCxnSpPr>
          <p:spPr>
            <a:xfrm>
              <a:off x="6804248" y="2132856"/>
              <a:ext cx="1584176" cy="1440160"/>
            </a:xfrm>
            <a:prstGeom prst="line">
              <a:avLst/>
            </a:prstGeom>
            <a:ln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единительная линия 49"/>
            <p:cNvCxnSpPr/>
            <p:nvPr/>
          </p:nvCxnSpPr>
          <p:spPr>
            <a:xfrm flipV="1">
              <a:off x="6444208" y="2060848"/>
              <a:ext cx="1728192" cy="1368152"/>
            </a:xfrm>
            <a:prstGeom prst="line">
              <a:avLst/>
            </a:prstGeom>
            <a:ln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Группа 54"/>
          <p:cNvGrpSpPr/>
          <p:nvPr/>
        </p:nvGrpSpPr>
        <p:grpSpPr>
          <a:xfrm>
            <a:off x="6372200" y="2060848"/>
            <a:ext cx="1944216" cy="1512168"/>
            <a:chOff x="6444208" y="2060848"/>
            <a:chExt cx="1944216" cy="1512168"/>
          </a:xfrm>
        </p:grpSpPr>
        <p:cxnSp>
          <p:nvCxnSpPr>
            <p:cNvPr id="58" name="Прямая соединительная линия 57"/>
            <p:cNvCxnSpPr/>
            <p:nvPr/>
          </p:nvCxnSpPr>
          <p:spPr>
            <a:xfrm>
              <a:off x="6804248" y="2132856"/>
              <a:ext cx="1584176" cy="1440160"/>
            </a:xfrm>
            <a:prstGeom prst="line">
              <a:avLst/>
            </a:prstGeom>
            <a:ln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65"/>
            <p:cNvCxnSpPr/>
            <p:nvPr/>
          </p:nvCxnSpPr>
          <p:spPr>
            <a:xfrm flipV="1">
              <a:off x="6444208" y="2060848"/>
              <a:ext cx="1728192" cy="1368152"/>
            </a:xfrm>
            <a:prstGeom prst="line">
              <a:avLst/>
            </a:prstGeom>
            <a:ln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Группа 66"/>
          <p:cNvGrpSpPr/>
          <p:nvPr/>
        </p:nvGrpSpPr>
        <p:grpSpPr>
          <a:xfrm>
            <a:off x="4572000" y="3573016"/>
            <a:ext cx="1944216" cy="1512168"/>
            <a:chOff x="6444208" y="2060848"/>
            <a:chExt cx="1944216" cy="1512168"/>
          </a:xfrm>
        </p:grpSpPr>
        <p:cxnSp>
          <p:nvCxnSpPr>
            <p:cNvPr id="69" name="Прямая соединительная линия 68"/>
            <p:cNvCxnSpPr/>
            <p:nvPr/>
          </p:nvCxnSpPr>
          <p:spPr>
            <a:xfrm>
              <a:off x="6804248" y="2132856"/>
              <a:ext cx="1584176" cy="1440160"/>
            </a:xfrm>
            <a:prstGeom prst="line">
              <a:avLst/>
            </a:prstGeom>
            <a:ln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Прямая соединительная линия 69"/>
            <p:cNvCxnSpPr/>
            <p:nvPr/>
          </p:nvCxnSpPr>
          <p:spPr>
            <a:xfrm flipV="1">
              <a:off x="6444208" y="2060848"/>
              <a:ext cx="1728192" cy="1368152"/>
            </a:xfrm>
            <a:prstGeom prst="line">
              <a:avLst/>
            </a:prstGeom>
            <a:ln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Группа 73"/>
          <p:cNvGrpSpPr/>
          <p:nvPr/>
        </p:nvGrpSpPr>
        <p:grpSpPr>
          <a:xfrm>
            <a:off x="6660232" y="3573016"/>
            <a:ext cx="1944216" cy="1512168"/>
            <a:chOff x="6444208" y="2060848"/>
            <a:chExt cx="1944216" cy="1512168"/>
          </a:xfrm>
        </p:grpSpPr>
        <p:cxnSp>
          <p:nvCxnSpPr>
            <p:cNvPr id="76" name="Прямая соединительная линия 75"/>
            <p:cNvCxnSpPr/>
            <p:nvPr/>
          </p:nvCxnSpPr>
          <p:spPr>
            <a:xfrm>
              <a:off x="6804248" y="2132856"/>
              <a:ext cx="1584176" cy="1440160"/>
            </a:xfrm>
            <a:prstGeom prst="line">
              <a:avLst/>
            </a:prstGeom>
            <a:ln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Прямая соединительная линия 76"/>
            <p:cNvCxnSpPr/>
            <p:nvPr/>
          </p:nvCxnSpPr>
          <p:spPr>
            <a:xfrm flipV="1">
              <a:off x="6444208" y="2060848"/>
              <a:ext cx="1728192" cy="1368152"/>
            </a:xfrm>
            <a:prstGeom prst="line">
              <a:avLst/>
            </a:prstGeom>
            <a:ln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4475" y="757014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51520" y="1268760"/>
            <a:ext cx="8561457" cy="518121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/>
          </p:cNvPr>
          <p:cNvSpPr txBox="1"/>
          <p:nvPr/>
        </p:nvSpPr>
        <p:spPr>
          <a:xfrm>
            <a:off x="292026" y="1357402"/>
            <a:ext cx="163512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Факторы успеха</a:t>
            </a:r>
          </a:p>
        </p:txBody>
      </p:sp>
      <p:sp>
        <p:nvSpPr>
          <p:cNvPr id="21" name="TextBox 20">
            <a:extLst/>
          </p:cNvPr>
          <p:cNvSpPr txBox="1"/>
          <p:nvPr/>
        </p:nvSpPr>
        <p:spPr>
          <a:xfrm>
            <a:off x="323528" y="1772816"/>
            <a:ext cx="209867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Устранили потери времени в процессе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: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 smtClean="0">
              <a:solidFill>
                <a:schemeClr val="accent2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согласования содержания текста новостей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3" name="TextBox 22">
            <a:extLst/>
          </p:cNvPr>
          <p:cNvSpPr txBox="1"/>
          <p:nvPr/>
        </p:nvSpPr>
        <p:spPr>
          <a:xfrm>
            <a:off x="2915816" y="1700808"/>
            <a:ext cx="2842419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Организовали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solidFill>
                <a:schemeClr val="accent2"/>
              </a:solidFill>
              <a:latin typeface="+mn-lt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chemeClr val="accent2"/>
                </a:solidFill>
              </a:rPr>
              <a:t>Самопроверку подготовленной информацию для сайта через использование чек листов при подготовке новостной информации по итогам проведения спортивных, музыкальных и официальных мероприятиях в ОУ .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chemeClr val="accent2"/>
                </a:solidFill>
              </a:rPr>
              <a:t>Своевременное размещение новостей на сайте без опозданий</a:t>
            </a:r>
            <a:r>
              <a:rPr lang="ru-RU" sz="1200" dirty="0" smtClean="0">
                <a:solidFill>
                  <a:schemeClr val="accent2"/>
                </a:solidFill>
              </a:rPr>
              <a:t>.</a:t>
            </a:r>
          </a:p>
          <a:p>
            <a:pPr marL="228600" indent="-228600"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chemeClr val="accent2"/>
                </a:solidFill>
              </a:rPr>
              <a:t>Повысилось качество новостной информации размещенной на сайте.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schemeClr val="accent2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4" name="TextBox 23">
            <a:extLst/>
          </p:cNvPr>
          <p:cNvSpPr txBox="1"/>
          <p:nvPr/>
        </p:nvSpPr>
        <p:spPr>
          <a:xfrm>
            <a:off x="5940152" y="1700808"/>
            <a:ext cx="2525712" cy="249299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Сформировалась команда единомышленников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 smtClean="0">
              <a:solidFill>
                <a:schemeClr val="accent2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Внедряются улучшения по освещению деятельности </a:t>
            </a:r>
            <a:r>
              <a:rPr lang="ru-RU" sz="1200" b="1" dirty="0" smtClean="0">
                <a:solidFill>
                  <a:schemeClr val="accent2"/>
                </a:solidFill>
              </a:rPr>
              <a:t>образовательного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 учреждения в сети Интернет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ru-RU" sz="1200" b="1" dirty="0" smtClean="0">
              <a:solidFill>
                <a:schemeClr val="accent2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Улучшился внутренний психологический микроклимат в общеобразовательном учрежден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8028384" y="251356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РИМЕР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4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/>
          </p:cNvPr>
          <p:cNvSpPr/>
          <p:nvPr/>
        </p:nvSpPr>
        <p:spPr>
          <a:xfrm>
            <a:off x="323528" y="3068961"/>
            <a:ext cx="8636000" cy="151216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96863" y="1251826"/>
            <a:ext cx="8636000" cy="160111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>
            <a:extLst/>
          </p:cNvPr>
          <p:cNvSpPr txBox="1"/>
          <p:nvPr/>
        </p:nvSpPr>
        <p:spPr>
          <a:xfrm>
            <a:off x="296863" y="1249047"/>
            <a:ext cx="202247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6012160" y="1700808"/>
            <a:ext cx="252028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Разработаны </a:t>
            </a:r>
            <a:r>
              <a:rPr lang="ru-RU" sz="1200" dirty="0" err="1" smtClean="0">
                <a:solidFill>
                  <a:srgbClr val="002060"/>
                </a:solidFill>
              </a:rPr>
              <a:t>чек-листы</a:t>
            </a:r>
            <a:r>
              <a:rPr lang="ru-RU" sz="1200" dirty="0" smtClean="0">
                <a:solidFill>
                  <a:srgbClr val="002060"/>
                </a:solidFill>
              </a:rPr>
              <a:t> для подготовки новостей различного содержания: спортивные, музыкальные и официальные новости 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771800" y="1412776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6156176" y="1412776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2339752" y="3284984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5724128" y="3284984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1907704" y="3645024"/>
            <a:ext cx="185026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/>
              <a:t>Не своевременное размещение информации на сайте</a:t>
            </a:r>
            <a:endParaRPr lang="ru-RU" sz="1200" dirty="0"/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5364088" y="3573016"/>
            <a:ext cx="189629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Новости размещаются во время без опозданий и задержки</a:t>
            </a:r>
            <a:endParaRPr lang="ru-RU" sz="1200" dirty="0">
              <a:solidFill>
                <a:srgbClr val="002060"/>
              </a:solidFill>
            </a:endParaRPr>
          </a:p>
        </p:txBody>
      </p:sp>
      <p:pic>
        <p:nvPicPr>
          <p:cNvPr id="9237" name="Picture 21" descr="https://im0-tub-ru.yandex.net/i?id=373ae64c9d7c1a5d6ec9746ffe34aef9-l&amp;n=1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1484784"/>
            <a:ext cx="1224136" cy="1176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483768" y="1772816"/>
            <a:ext cx="185026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/>
              <a:t>Отсутствовал единый стиль оформления новостной информации</a:t>
            </a:r>
            <a:endParaRPr lang="ru-RU" sz="1200" dirty="0"/>
          </a:p>
        </p:txBody>
      </p:sp>
      <p:pic>
        <p:nvPicPr>
          <p:cNvPr id="7206" name="Picture 38" descr="https://im0-tub-ru.yandex.net/i?id=cdf6704eff6ceb1f896d3895bb5ec563&amp;n=13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3923928" y="3284984"/>
            <a:ext cx="1080120" cy="108012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87624" y="2348880"/>
            <a:ext cx="1584176" cy="309634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464646"/>
                </a:solidFill>
              </a:rPr>
              <a:t>Достигнутые результаты</a:t>
            </a:r>
            <a:endParaRPr lang="ru-RU" sz="3200" b="1" dirty="0">
              <a:latin typeface="Arial Narrow" panose="020B0606020202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797" y="1507030"/>
            <a:ext cx="360040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latin typeface="Arial Narrow" panose="020B0606020202030204" pitchFamily="34" charset="0"/>
                <a:cs typeface="Times New Roman" pitchFamily="18" charset="0"/>
              </a:rPr>
              <a:t>ЭФФЕКТ</a:t>
            </a:r>
            <a:r>
              <a:rPr lang="ru-RU" altLang="ru-RU" b="1" dirty="0">
                <a:latin typeface="Arial Narrow" panose="020B0606020202030204" pitchFamily="34" charset="0"/>
                <a:cs typeface="Times New Roman" pitchFamily="18" charset="0"/>
              </a:rPr>
              <a:t> </a:t>
            </a:r>
            <a:endParaRPr lang="ru-RU" altLang="ru-RU" b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i="1" dirty="0" smtClean="0">
                <a:latin typeface="Arial Narrow" panose="020B0606020202030204" pitchFamily="34" charset="0"/>
                <a:cs typeface="Times New Roman" pitchFamily="18" charset="0"/>
              </a:rPr>
              <a:t>Сокращение временных затрат при размещении информации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i="1" dirty="0" smtClean="0">
                <a:latin typeface="Arial Narrow" panose="020B0606020202030204" pitchFamily="34" charset="0"/>
                <a:cs typeface="Times New Roman" pitchFamily="18" charset="0"/>
              </a:rPr>
              <a:t>на сайте ОУ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Разработан единый электронный стиль оформления новостей на сайте разного содержания учреждения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451899" y="1998132"/>
            <a:ext cx="648072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 вниз 13"/>
          <p:cNvSpPr/>
          <p:nvPr/>
        </p:nvSpPr>
        <p:spPr>
          <a:xfrm>
            <a:off x="6500826" y="3571876"/>
            <a:ext cx="648072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187624" y="1412776"/>
            <a:ext cx="1584176" cy="129614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403648" y="1628800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-37%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03648" y="3563724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80 мин.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>
                <a:latin typeface="Arial Narrow" panose="020B0606020202030204" pitchFamily="34" charset="0"/>
              </a:rPr>
              <a:t>t</a:t>
            </a:r>
            <a:r>
              <a:rPr lang="ru-RU" i="1" dirty="0" smtClean="0">
                <a:latin typeface="Arial Narrow" panose="020B0606020202030204" pitchFamily="34" charset="0"/>
              </a:rPr>
              <a:t> протекания процесса</a:t>
            </a:r>
            <a:endParaRPr lang="ru-RU" i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1</TotalTime>
  <Words>972</Words>
  <Application>Microsoft Office PowerPoint</Application>
  <PresentationFormat>Экран (4:3)</PresentationFormat>
  <Paragraphs>273</Paragraphs>
  <Slides>9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Arial Narrow</vt:lpstr>
      <vt:lpstr>Calibri</vt:lpstr>
      <vt:lpstr>Franklin Gothic Book</vt:lpstr>
      <vt:lpstr>Franklin Gothic Medium</vt:lpstr>
      <vt:lpstr>Times New Roman</vt:lpstr>
      <vt:lpstr>Тема Office</vt:lpstr>
      <vt:lpstr>think-cell Slide</vt:lpstr>
      <vt:lpstr>Паспорт проекта  «Оптимизация процесса размещения новостей на сайте МБОУ «Звездненская СОШ»</vt:lpstr>
      <vt:lpstr>Команда проекта </vt:lpstr>
      <vt:lpstr>Карта текущего состояния процесса «Оптимизация процесса размещения новостей  на сайте МБОУ «Звездненская СОШ» </vt:lpstr>
      <vt:lpstr>Пирамида проблем</vt:lpstr>
      <vt:lpstr>Презентация PowerPoint</vt:lpstr>
      <vt:lpstr>Карта целевого состояния процесса «Оптимизация процесса размещения новостей  на сайте МДОУ «Детский сад №3» </vt:lpstr>
      <vt:lpstr>Достигнутые результаты (было и стало) </vt:lpstr>
      <vt:lpstr>Достигнутые результаты (было и стало) </vt:lpstr>
      <vt:lpstr>Достигнутые результат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Алла</cp:lastModifiedBy>
  <cp:revision>66</cp:revision>
  <cp:lastPrinted>2019-04-25T09:14:46Z</cp:lastPrinted>
  <dcterms:created xsi:type="dcterms:W3CDTF">2018-08-20T14:01:12Z</dcterms:created>
  <dcterms:modified xsi:type="dcterms:W3CDTF">2021-03-10T07:15:20Z</dcterms:modified>
</cp:coreProperties>
</file>